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</p:sldMasterIdLst>
  <p:notesMasterIdLst>
    <p:notesMasterId r:id="rId8"/>
  </p:notesMasterIdLst>
  <p:handoutMasterIdLst>
    <p:handoutMasterId r:id="rId9"/>
  </p:handoutMasterIdLst>
  <p:sldIdLst>
    <p:sldId id="1541" r:id="rId2"/>
    <p:sldId id="1538" r:id="rId3"/>
    <p:sldId id="1537" r:id="rId4"/>
    <p:sldId id="1539" r:id="rId5"/>
    <p:sldId id="1542" r:id="rId6"/>
    <p:sldId id="1540" r:id="rId7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541"/>
            <p14:sldId id="1538"/>
            <p14:sldId id="1537"/>
            <p14:sldId id="1539"/>
            <p14:sldId id="1542"/>
            <p14:sldId id="15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750B"/>
    <a:srgbClr val="1F4E79"/>
    <a:srgbClr val="E7F5FE"/>
    <a:srgbClr val="CCECFF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 varScale="1">
        <p:scale>
          <a:sx n="44" d="100"/>
          <a:sy n="44" d="100"/>
        </p:scale>
        <p:origin x="1140" y="48"/>
      </p:cViewPr>
      <p:guideLst>
        <p:guide orient="horz" pos="363"/>
        <p:guide orient="horz" pos="839"/>
        <p:guide orient="horz" pos="5080"/>
        <p:guide orient="horz" pos="1588"/>
        <p:guide orient="horz" pos="930"/>
        <p:guide pos="226"/>
        <p:guide pos="499"/>
        <p:guide pos="4037"/>
        <p:guide pos="4535"/>
        <p:guide pos="7665"/>
        <p:guide pos="294"/>
        <p:guide pos="1587"/>
        <p:guide orient="horz" pos="1111"/>
        <p:guide orient="horz" pos="1429"/>
        <p:guide orient="horz" pos="22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10/25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10/2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870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abazdreva@rlcrt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7857" y="3809778"/>
            <a:ext cx="11257117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Программа коммерческого лизинга </a:t>
            </a:r>
            <a:b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дочерних региональных лизинговых компаний АО «Корпорация «МСП»</a:t>
            </a:r>
            <a:endParaRPr lang="ru-RU" sz="40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274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Программа коммерческого лизинга для субъектов МСП</a:t>
            </a:r>
            <a:endParaRPr lang="ru-RU" sz="24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377030" y="4320381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еимущества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ограммы льготного лизинга</a:t>
            </a:r>
          </a:p>
        </p:txBody>
      </p:sp>
      <p:sp>
        <p:nvSpPr>
          <p:cNvPr id="36" name="L-Shape 10"/>
          <p:cNvSpPr/>
          <p:nvPr/>
        </p:nvSpPr>
        <p:spPr>
          <a:xfrm rot="13701821">
            <a:off x="1846546" y="3506710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1462"/>
          <p:cNvGrpSpPr/>
          <p:nvPr/>
        </p:nvGrpSpPr>
        <p:grpSpPr>
          <a:xfrm>
            <a:off x="877122" y="3325051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2681740" y="2800536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роцентные ставки на уровне не выше среднерыночного значения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 представляет собой беззалоговое финансирование, обеспечением является сам предмет лизинга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вая компания самостоятельно приобретает у поставщика имущества и передает его во временное пользование и владение лизингополучателю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не ограничен в выборе и поставщика предмета лизинг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вправе выбрать график платежей исходя из сезонности бизнес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ервый лизинговый платеж оплачивается через 30 дней после подписания акта приема-передачи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Существует возможность привлечения региональных гарантийных организаций в качестве поручителя</a:t>
            </a:r>
          </a:p>
        </p:txBody>
      </p:sp>
    </p:spTree>
    <p:extLst>
      <p:ext uri="{BB962C8B-B14F-4D97-AF65-F5344CB8AC3E}">
        <p14:creationId xmlns:p14="http://schemas.microsoft.com/office/powerpoint/2010/main" val="3523192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84824"/>
              </p:ext>
            </p:extLst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</p:spTree>
    <p:extLst>
      <p:ext uri="{BB962C8B-B14F-4D97-AF65-F5344CB8AC3E}">
        <p14:creationId xmlns:p14="http://schemas.microsoft.com/office/powerpoint/2010/main" val="202991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/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27833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РЛК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* Форма Анкеты-заявки представлена на стр. 5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840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дварительная анкета – заявка для участия в программе коммерческого лизинг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.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en-US" sz="2400" b="1" u="sng" dirty="0">
                <a:latin typeface="Calibri Light" panose="020F0302020204030204" pitchFamily="34" charset="0"/>
              </a:rPr>
              <a:t>sales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@</a:t>
            </a:r>
            <a:r>
              <a:rPr lang="en-US" sz="2400" b="1" u="sng" dirty="0" err="1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lcrt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.ru</a:t>
            </a:r>
            <a:r>
              <a:rPr lang="ru-RU" sz="2400" b="1" u="sng" dirty="0">
                <a:latin typeface="Calibri Light" panose="020F0302020204030204" pitchFamily="34" charset="0"/>
              </a:rPr>
              <a:t> </a:t>
            </a:r>
            <a:r>
              <a:rPr lang="ru-RU" u="sng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64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яя лизинговая компания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Баздрева </a:t>
            </a:r>
            <a:r>
              <a:rPr lang="en-US" sz="1600" b="1" dirty="0">
                <a:solidFill>
                  <a:srgbClr val="1F4E79"/>
                </a:solidFill>
              </a:rPr>
              <a:t/>
            </a:r>
            <a:br>
              <a:rPr lang="en-US" sz="1600" b="1" dirty="0">
                <a:solidFill>
                  <a:srgbClr val="1F4E79"/>
                </a:solidFill>
              </a:rPr>
            </a:br>
            <a:r>
              <a:rPr lang="ru-RU" sz="1600" b="1" dirty="0">
                <a:solidFill>
                  <a:srgbClr val="1F4E79"/>
                </a:solidFill>
              </a:rPr>
              <a:t>Алена Александ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2"/>
              </a:rPr>
              <a:t>Abazdreva@rlcrt.ru</a:t>
            </a:r>
            <a:endParaRPr lang="en-US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Заместитель г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неральног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а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Тимофеев Александр Владимир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timofeev@rlcrt.ru</a:t>
            </a:r>
            <a:endParaRPr lang="ru-RU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843) 524-72-32 (доб.301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8102654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Директор департамента продаж </a:t>
            </a: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АО «РЛК Республики 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сквин Анатолий Валерьевич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u="sng" dirty="0">
                <a:solidFill>
                  <a:srgbClr val="0070C0"/>
                </a:solidFill>
              </a:rPr>
              <a:t>amoskvin@rlcrt.ru</a:t>
            </a: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400" dirty="0">
                <a:solidFill>
                  <a:srgbClr val="000000"/>
                </a:solidFill>
              </a:rPr>
              <a:t>84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lang="ru-RU" sz="1400" dirty="0">
                <a:solidFill>
                  <a:srgbClr val="000000"/>
                </a:solidFill>
              </a:rPr>
              <a:t>52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 (доб.304)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188185" y="5731051"/>
            <a:ext cx="31416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иентский менеджер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партамента продаж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</a:t>
            </a:r>
            <a:r>
              <a:rPr lang="ru-RU" sz="1200" dirty="0">
                <a:solidFill>
                  <a:srgbClr val="000000"/>
                </a:solidFill>
              </a:rPr>
              <a:t> Республики Татарста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»</a:t>
            </a:r>
          </a:p>
        </p:txBody>
      </p:sp>
      <p:grpSp>
        <p:nvGrpSpPr>
          <p:cNvPr id="186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8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02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0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25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2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1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4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7" name="TextBox 25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</a:p>
        </p:txBody>
      </p:sp>
      <p:grpSp>
        <p:nvGrpSpPr>
          <p:cNvPr id="264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65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6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7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8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9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70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426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82D398-1A77-4470-8052-564BE91C0FC7}"/>
</file>

<file path=customXml/itemProps2.xml><?xml version="1.0" encoding="utf-8"?>
<ds:datastoreItem xmlns:ds="http://schemas.openxmlformats.org/officeDocument/2006/customXml" ds:itemID="{BF08CA39-A3B9-497A-8E67-2FECFF9B21F5}"/>
</file>

<file path=customXml/itemProps3.xml><?xml version="1.0" encoding="utf-8"?>
<ds:datastoreItem xmlns:ds="http://schemas.openxmlformats.org/officeDocument/2006/customXml" ds:itemID="{6D13AA85-B200-40A2-971E-6B1A6A756F1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60</TotalTime>
  <Words>736</Words>
  <Application>Microsoft Office PowerPoint</Application>
  <PresentationFormat>Произвольный</PresentationFormat>
  <Paragraphs>167</Paragraphs>
  <Slides>6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Arial</vt:lpstr>
      <vt:lpstr>Arial Narrow</vt:lpstr>
      <vt:lpstr>Calibri</vt:lpstr>
      <vt:lpstr>Calibri Light</vt:lpstr>
      <vt:lpstr>Symbol</vt:lpstr>
      <vt:lpstr>Title</vt:lpstr>
      <vt:lpstr>Программа коммерческого лизинга  дочерних региональных лизинговых компаний АО «Корпорация «МСП»</vt:lpstr>
      <vt:lpstr>Программа коммерческого лизинга для субъектов МСП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Предварительная анкета – заявка для участия в программе коммерческого лизинга</vt:lpstr>
      <vt:lpstr>Контактная информация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Марина C. Корень</cp:lastModifiedBy>
  <cp:revision>4946</cp:revision>
  <cp:lastPrinted>2019-04-23T11:09:04Z</cp:lastPrinted>
  <dcterms:created xsi:type="dcterms:W3CDTF">2010-08-23T12:41:44Z</dcterms:created>
  <dcterms:modified xsi:type="dcterms:W3CDTF">2019-10-25T07:52:18Z</dcterms:modified>
</cp:coreProperties>
</file>